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3"/>
  </p:notesMasterIdLst>
  <p:sldIdLst>
    <p:sldId id="366" r:id="rId2"/>
    <p:sldId id="367" r:id="rId3"/>
    <p:sldId id="369" r:id="rId4"/>
    <p:sldId id="370" r:id="rId5"/>
    <p:sldId id="371" r:id="rId6"/>
    <p:sldId id="372" r:id="rId7"/>
    <p:sldId id="374" r:id="rId8"/>
    <p:sldId id="375" r:id="rId9"/>
    <p:sldId id="376" r:id="rId10"/>
    <p:sldId id="377" r:id="rId11"/>
    <p:sldId id="368" r:id="rId12"/>
  </p:sldIdLst>
  <p:sldSz cx="12192000" cy="6858000"/>
  <p:notesSz cx="6858000" cy="9144000"/>
  <p:embeddedFontLst>
    <p:embeddedFont>
      <p:font typeface="pt serif" panose="020A0603040505020204" pitchFamily="18" charset="0"/>
      <p:regular r:id="rId14"/>
    </p:embeddedFont>
    <p:embeddedFont>
      <p:font typeface="Rubik" panose="00000500000000000000" pitchFamily="50" charset="-79"/>
      <p:regular r:id="rId15"/>
      <p:bold r:id="rId16"/>
      <p:italic r:id="rId17"/>
    </p:embeddedFont>
    <p:embeddedFont>
      <p:font typeface="Trebuchet MS" panose="020B0603020202020204" pitchFamily="3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E93DA8-E221-4558-ADC5-7FE1A853B68A}" v="1" dt="2022-02-02T17:39:09.995"/>
  </p1510:revLst>
</p1510:revInfo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3" d="100"/>
          <a:sy n="83" d="100"/>
        </p:scale>
        <p:origin x="686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, Avudai Selvi" userId="ad07855b-132e-49c4-80d2-7fb67f859e57" providerId="ADAL" clId="{3AE93DA8-E221-4558-ADC5-7FE1A853B68A}"/>
    <pc:docChg chg="modSld">
      <pc:chgData name="S, Avudai Selvi" userId="ad07855b-132e-49c4-80d2-7fb67f859e57" providerId="ADAL" clId="{3AE93DA8-E221-4558-ADC5-7FE1A853B68A}" dt="2022-02-02T17:39:19.781" v="27"/>
      <pc:docMkLst>
        <pc:docMk/>
      </pc:docMkLst>
      <pc:sldChg chg="modSp mod">
        <pc:chgData name="S, Avudai Selvi" userId="ad07855b-132e-49c4-80d2-7fb67f859e57" providerId="ADAL" clId="{3AE93DA8-E221-4558-ADC5-7FE1A853B68A}" dt="2022-02-02T17:39:19.781" v="27"/>
        <pc:sldMkLst>
          <pc:docMk/>
          <pc:sldMk cId="1022597847" sldId="367"/>
        </pc:sldMkLst>
        <pc:spChg chg="mod">
          <ac:chgData name="S, Avudai Selvi" userId="ad07855b-132e-49c4-80d2-7fb67f859e57" providerId="ADAL" clId="{3AE93DA8-E221-4558-ADC5-7FE1A853B68A}" dt="2022-02-02T17:39:19.781" v="27"/>
          <ac:spMkLst>
            <pc:docMk/>
            <pc:sldMk cId="1022597847" sldId="367"/>
            <ac:spMk id="6" creationId="{525CBB0E-B869-4882-8948-65DD257EDC9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BAF474D-C48B-47A3-AD43-776B973A4A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Salesflare</a:t>
            </a:r>
            <a:r>
              <a:rPr lang="en-US" dirty="0"/>
              <a:t> Provi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Avudai Selvi 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D70B34-1745-492A-AE9D-36C6098F0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Stag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3CD7FE-0BD6-4D51-838A-161ADF67F7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BF2073-E326-4FC4-BE7F-9B18E8B11B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9D27685-F3D0-4202-903B-2419405E0287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207A3745-B72A-458C-866A-BBA86909BE0D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365927" y="1387475"/>
            <a:ext cx="11460145" cy="4665663"/>
          </a:xfrm>
        </p:spPr>
      </p:pic>
    </p:spTree>
    <p:extLst>
      <p:ext uri="{BB962C8B-B14F-4D97-AF65-F5344CB8AC3E}">
        <p14:creationId xmlns:p14="http://schemas.microsoft.com/office/powerpoint/2010/main" val="40985250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alesflar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</a:t>
            </a:r>
            <a:r>
              <a:rPr lang="en-GB" sz="1800" b="1" u="none" strike="noStrike" kern="0" spc="0" dirty="0" err="1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les</a:t>
            </a:r>
            <a:r>
              <a:rPr lang="en-GB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lare</a:t>
            </a:r>
            <a:endParaRPr lang="en-GB" sz="1800" b="1" kern="0" dirty="0"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err="1"/>
              <a:t>Salesflare</a:t>
            </a:r>
            <a:r>
              <a:rPr lang="en-US" dirty="0"/>
              <a:t> is the smarter, modern-day CRM for small business. If you’re tired of manually entering customer data and spending time navigating a complex system, </a:t>
            </a:r>
            <a:r>
              <a:rPr lang="en-US" dirty="0" err="1"/>
              <a:t>Salesflare</a:t>
            </a:r>
            <a:r>
              <a:rPr lang="en-US" dirty="0"/>
              <a:t> will be the best suite. </a:t>
            </a:r>
            <a:r>
              <a:rPr lang="en-US" b="0" i="0" dirty="0">
                <a:effectLst/>
                <a:latin typeface="pt serif" panose="020A0603040505020204" pitchFamily="18" charset="0"/>
              </a:rPr>
              <a:t>A simple yet powerful CRM for small businesses selling B2B.</a:t>
            </a:r>
            <a:endParaRPr lang="en-US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Its very </a:t>
            </a:r>
            <a:r>
              <a:rPr lang="en-US" dirty="0" err="1"/>
              <a:t>intuitive,automated</a:t>
            </a:r>
            <a:r>
              <a:rPr lang="en-US" dirty="0"/>
              <a:t> and intelligent sales CRM. Its provides a very good insight dashboards inbuilt. Its provides integration with Zapier which enables complete automation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25E572B8-3715-481F-BDC2-A82B6AD5F54F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700087" y="1691481"/>
            <a:ext cx="10791825" cy="4057650"/>
          </a:xfr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28856F-E812-46F7-80F2-19818367A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Currencies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0AD242-B655-4431-9876-28DC945DBD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6BEFB7-D245-4835-81AD-847365D355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51B6D38-F203-47F5-B05B-F2C93735F7A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6444C600-7395-4620-8784-DCAF10101FA1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549857" y="1104900"/>
            <a:ext cx="10353675" cy="4648200"/>
          </a:xfrm>
        </p:spPr>
      </p:pic>
    </p:spTree>
    <p:extLst>
      <p:ext uri="{BB962C8B-B14F-4D97-AF65-F5344CB8AC3E}">
        <p14:creationId xmlns:p14="http://schemas.microsoft.com/office/powerpoint/2010/main" val="172345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3A777-681D-4FB5-B2ED-827342527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Persons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9AC976-7DDB-4C1D-8B32-FF6E9DA620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C49E58-575E-4439-89B1-DFE514557A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F91BFDE-84B0-43C6-9A80-825B54416F7D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3D8C6E-A03A-4348-B6FF-C3BA19183C8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3D9783-1138-4482-A405-6C6B89F499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550" y="904875"/>
            <a:ext cx="11772900" cy="504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643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19553-E018-434C-B4FC-4C9EC38A9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Opportunities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0DE70C-0557-4A68-8724-1DC1B6F17B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C29D4F-1600-4D17-B037-CDFFB8EFD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AC8EF56-7E9B-4C77-BFD8-B958E3C23F4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F15507-0EBC-4E8D-B75E-44CFFD2A121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4DBA864-B43B-4D78-B2FB-312F4F08A4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412" y="1038225"/>
            <a:ext cx="11687175" cy="478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070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695A1-BD30-47A4-B06F-B53E659C2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ete Opportunity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DC423-C1C1-4CB8-BAF9-5C62691F37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0B1633-8CFB-40A5-A19C-DD7D0B7431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638DFB9-C6D0-4FC4-9DC1-0DCC7A3F958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870AE0-3DAB-4B87-B7D1-490FEBBBFD92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75ACBA-A1A1-4857-8DAA-4499B29637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37" y="828675"/>
            <a:ext cx="12049125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0930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075B8-3A30-428F-8243-7D3951435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An Opportunity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7FB2BA-D3F6-4510-9A85-F9CAB778D7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D232E5-492E-4043-BF40-C48368554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0D2D0C1-B93D-4B19-AE2E-B77B3DA4011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9CC118-7BD3-47BB-A055-3EE7871FDAD8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D9DC38-E490-422E-AEDE-353648A279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725" y="871537"/>
            <a:ext cx="12020550" cy="511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112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F877EF-3836-45D8-B72F-62E8CD083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Stage Details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088DE6-D8CC-4625-B4B0-EB9B17D42D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3D5087-D200-45FE-BA75-F423766F1E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F47605E-B0DD-4261-BA3A-9D632F9628BD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B83A93-3A4A-4213-9EDA-D93F809904A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369C27A-2A56-404B-8335-2342D7BCFA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6812" y="795337"/>
            <a:ext cx="9858375" cy="526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9340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9662eb9-ad98-4e74-a8a2-04ed5d544db6}" enabled="0" method="" siteId="{d9662eb9-ad98-4e74-a8a2-04ed5d544db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27</Words>
  <Application>Microsoft Office PowerPoint</Application>
  <PresentationFormat>Widescreen</PresentationFormat>
  <Paragraphs>41</Paragraphs>
  <Slides>11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Rubik</vt:lpstr>
      <vt:lpstr>Symbol</vt:lpstr>
      <vt:lpstr>pt serif</vt:lpstr>
      <vt:lpstr>Wingdings</vt:lpstr>
      <vt:lpstr>Trebuchet MS</vt:lpstr>
      <vt:lpstr>Software AG 2021</vt:lpstr>
      <vt:lpstr>Salesflare Provider</vt:lpstr>
      <vt:lpstr>Salesflare</vt:lpstr>
      <vt:lpstr>Screenshots for workflow</vt:lpstr>
      <vt:lpstr>List Currencies</vt:lpstr>
      <vt:lpstr>List Persons</vt:lpstr>
      <vt:lpstr>List Opportunities</vt:lpstr>
      <vt:lpstr>Delete Opportunity</vt:lpstr>
      <vt:lpstr>Get An Opportunity</vt:lpstr>
      <vt:lpstr>Get Stage Details</vt:lpstr>
      <vt:lpstr>List Stage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S, Avudai Selvi</cp:lastModifiedBy>
  <cp:revision>4</cp:revision>
  <dcterms:created xsi:type="dcterms:W3CDTF">2022-01-10T12:32:13Z</dcterms:created>
  <dcterms:modified xsi:type="dcterms:W3CDTF">2022-02-02T17:39:38Z</dcterms:modified>
</cp:coreProperties>
</file>